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257" r:id="rId3"/>
  </p:sldIdLst>
  <p:sldSz cx="12192000" cy="6858000"/>
  <p:notesSz cx="6858000" cy="9144000"/>
  <p:custDataLst>
    <p:tags r:id="rId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5293" autoAdjust="0"/>
    <p:restoredTop sz="96959" autoAdjust="0"/>
  </p:normalViewPr>
  <p:slideViewPr>
    <p:cSldViewPr snapToGrid="0" showGuides="1">
      <p:cViewPr>
        <p:scale>
          <a:sx n="138" d="100"/>
          <a:sy n="138" d="100"/>
        </p:scale>
        <p:origin x="392" y="584"/>
      </p:cViewPr>
      <p:guideLst>
        <p:guide orient="horz" pos="2160"/>
        <p:guide pos="38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65630338230271E-2"/>
          <c:y val="2.6652998462327011E-2"/>
          <c:w val="0.96446873932353949"/>
          <c:h val="0.946694003075345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</c:marker>
          <c:xVal>
            <c:numRef>
              <c:f>Sheet1!$A$1:$A$15</c:f>
              <c:numCache>
                <c:formatCode>General</c:formatCode>
                <c:ptCount val="15"/>
                <c:pt idx="0">
                  <c:v>1.5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Sheet1!$B$1:$B$15</c:f>
              <c:numCache>
                <c:formatCode>General</c:formatCode>
                <c:ptCount val="15"/>
                <c:pt idx="0">
                  <c:v>1.5</c:v>
                </c:pt>
                <c:pt idx="1">
                  <c:v>2.6</c:v>
                </c:pt>
                <c:pt idx="2">
                  <c:v>2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566-49A7-B706-F012C7D0871B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square"/>
            <c:size val="7"/>
            <c:spPr>
              <a:solidFill>
                <a:schemeClr val="tx1"/>
              </a:solidFill>
              <a:ln w="9525" algn="ctr">
                <a:solidFill>
                  <a:schemeClr val="tx1"/>
                </a:solidFill>
                <a:prstDash val="solid"/>
              </a:ln>
            </c:spPr>
          </c:marker>
          <c:dPt>
            <c:idx val="4"/>
            <c:marker>
              <c:spPr>
                <a:noFill/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566-49A7-B706-F012C7D0871B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E566-49A7-B706-F012C7D0871B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566-49A7-B706-F012C7D0871B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E566-49A7-B706-F012C7D0871B}"/>
              </c:ext>
            </c:extLst>
          </c:dPt>
          <c:xVal>
            <c:numRef>
              <c:f>Sheet1!$A$1:$A$15</c:f>
              <c:numCache>
                <c:formatCode>General</c:formatCode>
                <c:ptCount val="15"/>
                <c:pt idx="3">
                  <c:v>2.2000000000000002</c:v>
                </c:pt>
                <c:pt idx="4">
                  <c:v>2</c:v>
                </c:pt>
                <c:pt idx="5">
                  <c:v>0.5</c:v>
                </c:pt>
                <c:pt idx="6">
                  <c:v>1</c:v>
                </c:pt>
                <c:pt idx="7">
                  <c:v>2.5</c:v>
                </c:pt>
                <c:pt idx="8">
                  <c:v>0.8</c:v>
                </c:pt>
                <c:pt idx="9">
                  <c:v>1.4</c:v>
                </c:pt>
                <c:pt idx="10">
                  <c:v>1.8</c:v>
                </c:pt>
                <c:pt idx="11">
                  <c:v>1.2</c:v>
                </c:pt>
                <c:pt idx="12">
                  <c:v>2</c:v>
                </c:pt>
                <c:pt idx="13">
                  <c:v>2.2999999999999998</c:v>
                </c:pt>
                <c:pt idx="14">
                  <c:v>2.4</c:v>
                </c:pt>
              </c:numCache>
            </c:numRef>
          </c:xVal>
          <c:yVal>
            <c:numRef>
              <c:f>Sheet1!$C$1:$C$15</c:f>
              <c:numCache>
                <c:formatCode>General</c:formatCode>
                <c:ptCount val="15"/>
                <c:pt idx="3">
                  <c:v>2.8</c:v>
                </c:pt>
                <c:pt idx="4">
                  <c:v>4</c:v>
                </c:pt>
                <c:pt idx="5">
                  <c:v>1.5</c:v>
                </c:pt>
                <c:pt idx="6">
                  <c:v>2.4</c:v>
                </c:pt>
                <c:pt idx="7">
                  <c:v>2.5</c:v>
                </c:pt>
                <c:pt idx="8">
                  <c:v>2</c:v>
                </c:pt>
                <c:pt idx="9">
                  <c:v>2.6</c:v>
                </c:pt>
                <c:pt idx="10">
                  <c:v>1.4</c:v>
                </c:pt>
                <c:pt idx="11">
                  <c:v>1.4</c:v>
                </c:pt>
                <c:pt idx="12">
                  <c:v>2</c:v>
                </c:pt>
                <c:pt idx="13">
                  <c:v>2</c:v>
                </c:pt>
                <c:pt idx="14">
                  <c:v>1.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E566-49A7-B706-F012C7D087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8799968"/>
        <c:axId val="1"/>
      </c:scatterChart>
      <c:valAx>
        <c:axId val="2058799968"/>
        <c:scaling>
          <c:orientation val="minMax"/>
          <c:max val="3.5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i="1">
                <a:latin typeface="Times New Roman"/>
                <a:ea typeface="+mn-ea"/>
                <a:cs typeface="Times New Roman"/>
                <a:sym typeface="Times New Roman"/>
              </a:defRPr>
            </a:pPr>
            <a:endParaRPr lang="ru-RU"/>
          </a:p>
        </c:txPr>
        <c:crossAx val="1"/>
        <c:crosses val="min"/>
        <c:crossBetween val="midCat"/>
        <c:majorUnit val="0.5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i="1">
                <a:latin typeface="Times New Roman"/>
                <a:ea typeface="+mn-ea"/>
                <a:cs typeface="Times New Roman"/>
                <a:sym typeface="Times New Roman"/>
              </a:defRPr>
            </a:pPr>
            <a:endParaRPr lang="ru-RU"/>
          </a:p>
        </c:txPr>
        <c:crossAx val="2058799968"/>
        <c:crosses val="min"/>
        <c:crossBetween val="midCat"/>
        <c:majorUnit val="0.5"/>
      </c:valAx>
      <c:spPr>
        <a:noFill/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A2035E-AB5E-4656-B48A-7DB4258DCBF2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422223-16F0-4E28-924F-60A9868DE4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04701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422223-16F0-4E28-924F-60A9868DE4B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0022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07EC3E-B547-4F98-95DE-4B08BEE158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F9A9490-5FC4-47B8-B063-606CC9350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90B214D-B589-4939-A5E8-03C19398A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A3DA09E-C7FD-4C05-80BC-23EE83E3B0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26ADFEA-0270-4508-B013-B2C447A6C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58779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F19945E-DA8A-45D2-91CE-F348ECAC5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E01BC0A-8219-49C5-A60A-ADA67A1268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08A5365-A04B-449F-8AE0-513A4DFFB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0F4DCDA-1B5A-4A0E-8F56-F47702CAF5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E4C4DC0-0ECF-4093-AE50-A9FBFB945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3299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BA29FE55-FF77-4B08-8A4E-294D1E3658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7ACB9FA-EF24-400A-84B2-6DF03D6831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8032CB-25FE-4732-9B4D-6A0176E79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5AF118E-5F65-4447-84C8-91E83FCB8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0BC5F8F-E7C0-4285-BD6E-CD8584E5D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2199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428CDD-BAA7-4AB7-987E-EAAF34E7C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1D401AE-9920-4118-B9E9-1CA16336DF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7D46AFB-39FC-4030-A923-F96295D83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AF6A184-7349-4007-BEF3-65DC70DC21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B4BEED5-A006-4478-A65D-7C62F84B9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644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086470B-E13F-4876-B92C-E9DC48599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B0EB9A9-B3C2-441C-B35A-886128A166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422C167-12AD-43CA-B8A1-2CB8CBC4C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36EAB98-2C25-41EB-843C-015DDC40C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402DDA7-9C3A-4C9D-BEB4-FF235BA85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274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BD5A79-816C-4665-AA47-155658BC9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E07DA47-3366-4B01-BA09-675179186C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EAAADA5-632F-4744-8F9B-D6861005C9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B53ED65-98A8-46B3-B22E-8C0B07F91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BE62CE8-0A12-4167-B597-A0F3EA9882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E1AFFA7-2FE0-4FBE-AFE7-409CC773A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5831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4AAF36-6D25-4145-B564-7DDC60DD0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EB52114-1193-477B-BDBA-C99F09B1BF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27C879F-F751-4FED-AED7-49AF3DE524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B3F5028-BC6D-40CA-9F99-20A0F25092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B516B65-2795-474F-93F5-BA72E1966E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C09C149D-B9C0-4D26-9FAC-15AFC309D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AA6C3A20-4643-44AD-8742-F1E055F70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0B23016-C337-4A10-A95D-8311B527C4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9966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946E94-E8C5-4E25-915F-625BAA1D5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471BCD7-0A5D-4AE6-96D9-629CCA0AD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39BA790-0EEC-4713-BAB9-8AF09B2989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584C2D9-8413-4B05-96DD-345459E64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2056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BCD1B0A-9D2E-4259-A60A-9DC88AF12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CDA9B2F-89D6-4983-91F5-E237D1724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040C85C-A1F2-4C40-9C58-6A2F22ECE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0544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B4EB3F4-2D0B-416E-8603-34F89810C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CFCCE2A-CA73-442D-BD91-48C232AEA5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9A84796-32C6-4A82-9ECD-8A398984CB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65F50E0-7F5A-4C45-8C8F-4C6E52AD24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7DC1465-E829-4716-ABF4-48CC985FB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9C8AAF-42E0-458B-82FA-8DB2B0297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2415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4221C6-5800-4AC9-97AF-801E1BD24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D8C3D792-C5CE-465E-8188-E03E747F6F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2E93674-C8FD-40BC-9EEE-792AE2751D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7E82DFA-891A-49DD-9358-41807CA87C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DF487E4-3DF1-49F8-853F-683E18577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38D3500-3D1C-4C27-BFFA-1C550E1171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7826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A01C330-F85F-4DF7-B8ED-6AE1782535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2662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Слайд think-cell" r:id="rId16" imgW="416" imgH="416" progId="TCLayout.ActiveDocument.1">
                  <p:embed/>
                </p:oleObj>
              </mc:Choice>
              <mc:Fallback>
                <p:oleObj name="Слайд think-cell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3D4284C2-7E50-49F7-9216-413FF957F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CD42A4B-44A4-466B-8284-89D142905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99E7EAC-FB52-4138-BFB4-6DFD83575C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2D1981E-E9B2-46DF-AA0E-3D2E6AFE6E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109524-591A-4F33-AD32-76F191976FF0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21485B2-F567-4BB8-9B20-3771D96C73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60929C-AB59-46DF-9AB4-A8C3B00C71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899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oleObject" Target="../embeddings/oleObject2.bin"/><Relationship Id="rId3" Type="http://schemas.openxmlformats.org/officeDocument/2006/relationships/tags" Target="../tags/tag5.xml"/><Relationship Id="rId21" Type="http://schemas.openxmlformats.org/officeDocument/2006/relationships/image" Target="../media/image3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2.png"/><Relationship Id="rId2" Type="http://schemas.openxmlformats.org/officeDocument/2006/relationships/tags" Target="../tags/tag4.xml"/><Relationship Id="rId16" Type="http://schemas.openxmlformats.org/officeDocument/2006/relationships/notesSlide" Target="../notesSlides/notesSlide1.xml"/><Relationship Id="rId20" Type="http://schemas.openxmlformats.org/officeDocument/2006/relationships/chart" Target="../charts/chart1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6.png"/><Relationship Id="rId5" Type="http://schemas.openxmlformats.org/officeDocument/2006/relationships/tags" Target="../tags/tag7.xml"/><Relationship Id="rId15" Type="http://schemas.openxmlformats.org/officeDocument/2006/relationships/slideLayout" Target="../slideLayouts/slideLayout1.xml"/><Relationship Id="rId23" Type="http://schemas.openxmlformats.org/officeDocument/2006/relationships/image" Target="../media/image5.png"/><Relationship Id="rId10" Type="http://schemas.openxmlformats.org/officeDocument/2006/relationships/tags" Target="../tags/tag12.xml"/><Relationship Id="rId19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" name="Рисунок 415">
            <a:extLst>
              <a:ext uri="{FF2B5EF4-FFF2-40B4-BE49-F238E27FC236}">
                <a16:creationId xmlns:a16="http://schemas.microsoft.com/office/drawing/2014/main" id="{924714BA-FCAD-465D-9DF4-31A608AB8AB3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62" r="76650"/>
          <a:stretch/>
        </p:blipFill>
        <p:spPr>
          <a:xfrm>
            <a:off x="1304968" y="1660301"/>
            <a:ext cx="401834" cy="682685"/>
          </a:xfrm>
          <a:prstGeom prst="rect">
            <a:avLst/>
          </a:prstGeom>
        </p:spPr>
      </p:pic>
      <p:sp>
        <p:nvSpPr>
          <p:cNvPr id="41" name="Овал 40">
            <a:extLst>
              <a:ext uri="{FF2B5EF4-FFF2-40B4-BE49-F238E27FC236}">
                <a16:creationId xmlns:a16="http://schemas.microsoft.com/office/drawing/2014/main" id="{2AC32DFA-849F-A34C-9724-6E5DF6A6CD20}"/>
              </a:ext>
            </a:extLst>
          </p:cNvPr>
          <p:cNvSpPr>
            <a:spLocks noChangeAspect="1"/>
          </p:cNvSpPr>
          <p:nvPr/>
        </p:nvSpPr>
        <p:spPr>
          <a:xfrm>
            <a:off x="1292316" y="1838872"/>
            <a:ext cx="355808" cy="339180"/>
          </a:xfrm>
          <a:prstGeom prst="ellipse">
            <a:avLst/>
          </a:prstGeom>
          <a:solidFill>
            <a:schemeClr val="accent1">
              <a:alpha val="0"/>
            </a:scheme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61" name="Рисунок 560">
            <a:extLst>
              <a:ext uri="{FF2B5EF4-FFF2-40B4-BE49-F238E27FC236}">
                <a16:creationId xmlns:a16="http://schemas.microsoft.com/office/drawing/2014/main" id="{6E9A9089-AB69-4038-8D64-7580231D7517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" t="24117" r="90888" b="28194"/>
          <a:stretch/>
        </p:blipFill>
        <p:spPr>
          <a:xfrm>
            <a:off x="4751718" y="3829052"/>
            <a:ext cx="386693" cy="339039"/>
          </a:xfrm>
          <a:prstGeom prst="rect">
            <a:avLst/>
          </a:prstGeom>
        </p:spPr>
      </p:pic>
      <p:sp>
        <p:nvSpPr>
          <p:cNvPr id="13" name="Овал 12">
            <a:extLst>
              <a:ext uri="{FF2B5EF4-FFF2-40B4-BE49-F238E27FC236}">
                <a16:creationId xmlns:a16="http://schemas.microsoft.com/office/drawing/2014/main" id="{9862A24C-9173-D340-BB19-4EBCC8786541}"/>
              </a:ext>
            </a:extLst>
          </p:cNvPr>
          <p:cNvSpPr>
            <a:spLocks noChangeAspect="1"/>
          </p:cNvSpPr>
          <p:nvPr/>
        </p:nvSpPr>
        <p:spPr>
          <a:xfrm>
            <a:off x="4773415" y="3843582"/>
            <a:ext cx="337366" cy="324509"/>
          </a:xfrm>
          <a:prstGeom prst="ellipse">
            <a:avLst/>
          </a:prstGeom>
          <a:solidFill>
            <a:schemeClr val="accent1">
              <a:alpha val="0"/>
            </a:scheme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105F1403-6C27-407B-868D-06F42DC8D4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600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Слайд think-cell" r:id="rId18" imgW="416" imgH="416" progId="TCLayout.ActiveDocument.1">
                  <p:embed/>
                </p:oleObj>
              </mc:Choice>
              <mc:Fallback>
                <p:oleObj name="Слайд think-cell" r:id="rId18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B5347C97-1F8C-434B-9172-CAC5C3D05B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aphicFrame>
        <p:nvGraphicFramePr>
          <p:cNvPr id="555" name="Chart 3">
            <a:extLst>
              <a:ext uri="{FF2B5EF4-FFF2-40B4-BE49-F238E27FC236}">
                <a16:creationId xmlns:a16="http://schemas.microsoft.com/office/drawing/2014/main" id="{D3738DC2-E825-4DF4-945F-19B10D7692D8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40464720"/>
              </p:ext>
            </p:extLst>
          </p:nvPr>
        </p:nvGraphicFramePr>
        <p:xfrm>
          <a:off x="1674020" y="804864"/>
          <a:ext cx="4646613" cy="3097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420" name="Текст 2">
            <a:extLst>
              <a:ext uri="{FF2B5EF4-FFF2-40B4-BE49-F238E27FC236}">
                <a16:creationId xmlns:a16="http://schemas.microsoft.com/office/drawing/2014/main" id="{199E7EAC-FB52-4138-BFB4-6DFD83575C1A}"/>
              </a:ext>
            </a:extLst>
          </p:cNvPr>
          <p:cNvSpPr>
            <a:spLocks noGrp="1" noChangeAspect="1"/>
          </p:cNvSpPr>
          <p:nvPr>
            <p:custDataLst>
              <p:tags r:id="rId5"/>
            </p:custDataLst>
          </p:nvPr>
        </p:nvSpPr>
        <p:spPr bwMode="gray">
          <a:xfrm>
            <a:off x="1358108" y="1897064"/>
            <a:ext cx="222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cxnSp>
        <p:nvCxnSpPr>
          <p:cNvPr id="348" name="Прямая соединительная линия 347">
            <a:extLst>
              <a:ext uri="{FF2B5EF4-FFF2-40B4-BE49-F238E27FC236}">
                <a16:creationId xmlns:a16="http://schemas.microsoft.com/office/drawing/2014/main" id="{8B1DE706-C15B-4D3B-906D-CA649F7DBBF4}"/>
              </a:ext>
            </a:extLst>
          </p:cNvPr>
          <p:cNvCxnSpPr>
            <a:cxnSpLocks noChangeAspect="1"/>
          </p:cNvCxnSpPr>
          <p:nvPr>
            <p:custDataLst>
              <p:tags r:id="rId6"/>
            </p:custDataLst>
          </p:nvPr>
        </p:nvCxnSpPr>
        <p:spPr bwMode="auto">
          <a:xfrm flipV="1">
            <a:off x="2204245" y="1547814"/>
            <a:ext cx="3265488" cy="15382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5" name="Прямая соединительная линия 454">
            <a:extLst>
              <a:ext uri="{FF2B5EF4-FFF2-40B4-BE49-F238E27FC236}">
                <a16:creationId xmlns:a16="http://schemas.microsoft.com/office/drawing/2014/main" id="{23C2B445-4417-4EF3-8A58-D6777E5AA53C}"/>
              </a:ext>
            </a:extLst>
          </p:cNvPr>
          <p:cNvCxnSpPr>
            <a:cxnSpLocks noChangeAspect="1"/>
            <a:stCxn id="561" idx="0"/>
          </p:cNvCxnSpPr>
          <p:nvPr>
            <p:custDataLst>
              <p:tags r:id="rId7"/>
            </p:custDataLst>
          </p:nvPr>
        </p:nvCxnSpPr>
        <p:spPr bwMode="auto">
          <a:xfrm flipV="1">
            <a:off x="4945065" y="1962756"/>
            <a:ext cx="11146" cy="1866296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5" name="Прямая соединительная линия 444">
            <a:extLst>
              <a:ext uri="{FF2B5EF4-FFF2-40B4-BE49-F238E27FC236}">
                <a16:creationId xmlns:a16="http://schemas.microsoft.com/office/drawing/2014/main" id="{648D6558-7CCC-4F20-AC09-DDD1BE0A6781}"/>
              </a:ext>
            </a:extLst>
          </p:cNvPr>
          <p:cNvCxnSpPr>
            <a:cxnSpLocks noChangeAspect="1"/>
          </p:cNvCxnSpPr>
          <p:nvPr>
            <p:custDataLst>
              <p:tags r:id="rId8"/>
            </p:custDataLst>
          </p:nvPr>
        </p:nvCxnSpPr>
        <p:spPr bwMode="auto">
          <a:xfrm>
            <a:off x="1756570" y="1987551"/>
            <a:ext cx="3200400" cy="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Прямая соединительная линия 370">
            <a:extLst>
              <a:ext uri="{FF2B5EF4-FFF2-40B4-BE49-F238E27FC236}">
                <a16:creationId xmlns:a16="http://schemas.microsoft.com/office/drawing/2014/main" id="{730859AD-0B61-4F02-A3D9-C0996BD02A3B}"/>
              </a:ext>
            </a:extLst>
          </p:cNvPr>
          <p:cNvCxnSpPr>
            <a:cxnSpLocks noChangeAspect="1"/>
          </p:cNvCxnSpPr>
          <p:nvPr>
            <p:custDataLst>
              <p:tags r:id="rId9"/>
            </p:custDataLst>
          </p:nvPr>
        </p:nvCxnSpPr>
        <p:spPr bwMode="auto">
          <a:xfrm flipH="1">
            <a:off x="1756570" y="2719389"/>
            <a:ext cx="639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Прямая соединительная линия 378">
            <a:extLst>
              <a:ext uri="{FF2B5EF4-FFF2-40B4-BE49-F238E27FC236}">
                <a16:creationId xmlns:a16="http://schemas.microsoft.com/office/drawing/2014/main" id="{13146868-35F3-4C12-8C1D-79B1E5A960DA}"/>
              </a:ext>
            </a:extLst>
          </p:cNvPr>
          <p:cNvCxnSpPr>
            <a:cxnSpLocks noChangeAspect="1"/>
          </p:cNvCxnSpPr>
          <p:nvPr>
            <p:custDataLst>
              <p:tags r:id="rId10"/>
            </p:custDataLst>
          </p:nvPr>
        </p:nvCxnSpPr>
        <p:spPr bwMode="auto">
          <a:xfrm flipH="1">
            <a:off x="1756570" y="2976564"/>
            <a:ext cx="6397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Прямая соединительная линия 374">
            <a:extLst>
              <a:ext uri="{FF2B5EF4-FFF2-40B4-BE49-F238E27FC236}">
                <a16:creationId xmlns:a16="http://schemas.microsoft.com/office/drawing/2014/main" id="{BB9E5FE8-4CD4-480F-BDC2-71DECD7BD388}"/>
              </a:ext>
            </a:extLst>
          </p:cNvPr>
          <p:cNvCxnSpPr>
            <a:cxnSpLocks noChangeAspect="1"/>
          </p:cNvCxnSpPr>
          <p:nvPr>
            <p:custDataLst>
              <p:tags r:id="rId11"/>
            </p:custDataLst>
          </p:nvPr>
        </p:nvCxnSpPr>
        <p:spPr bwMode="auto">
          <a:xfrm>
            <a:off x="2396333" y="2755901"/>
            <a:ext cx="0" cy="10636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4" name="Рисунок 413">
            <a:extLst>
              <a:ext uri="{FF2B5EF4-FFF2-40B4-BE49-F238E27FC236}">
                <a16:creationId xmlns:a16="http://schemas.microsoft.com/office/drawing/2014/main" id="{0F52B747-550B-43C6-851E-4828BCE0D758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4" t="30577" r="65689" b="31243"/>
          <a:stretch/>
        </p:blipFill>
        <p:spPr>
          <a:xfrm>
            <a:off x="2267088" y="3885916"/>
            <a:ext cx="258489" cy="266015"/>
          </a:xfrm>
          <a:prstGeom prst="rect">
            <a:avLst/>
          </a:prstGeom>
        </p:spPr>
      </p:pic>
      <p:pic>
        <p:nvPicPr>
          <p:cNvPr id="415" name="Рисунок 414">
            <a:extLst>
              <a:ext uri="{FF2B5EF4-FFF2-40B4-BE49-F238E27FC236}">
                <a16:creationId xmlns:a16="http://schemas.microsoft.com/office/drawing/2014/main" id="{AE2C7CEC-F224-49D5-8F21-18BB79F645C1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94" t="18053" r="52841" b="17136"/>
          <a:stretch/>
        </p:blipFill>
        <p:spPr>
          <a:xfrm>
            <a:off x="1207167" y="2501503"/>
            <a:ext cx="368101" cy="475061"/>
          </a:xfrm>
          <a:prstGeom prst="rect">
            <a:avLst/>
          </a:prstGeom>
        </p:spPr>
      </p:pic>
      <p:pic>
        <p:nvPicPr>
          <p:cNvPr id="417" name="Рисунок 416">
            <a:extLst>
              <a:ext uri="{FF2B5EF4-FFF2-40B4-BE49-F238E27FC236}">
                <a16:creationId xmlns:a16="http://schemas.microsoft.com/office/drawing/2014/main" id="{454AC4EA-49EB-4276-B497-29E92788A1BE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487" r="16504" b="37974"/>
          <a:stretch/>
        </p:blipFill>
        <p:spPr>
          <a:xfrm>
            <a:off x="1304968" y="595800"/>
            <a:ext cx="401834" cy="512215"/>
          </a:xfrm>
          <a:prstGeom prst="rect">
            <a:avLst/>
          </a:prstGeom>
        </p:spPr>
      </p:pic>
      <p:sp>
        <p:nvSpPr>
          <p:cNvPr id="557" name="Прямоугольник 556">
            <a:extLst>
              <a:ext uri="{FF2B5EF4-FFF2-40B4-BE49-F238E27FC236}">
                <a16:creationId xmlns:a16="http://schemas.microsoft.com/office/drawing/2014/main" id="{DD131AC9-975D-4F70-ABD3-EC8D48F29A4E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1900332" y="1017590"/>
            <a:ext cx="88900" cy="8890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9" name="Овал 558">
            <a:extLst>
              <a:ext uri="{FF2B5EF4-FFF2-40B4-BE49-F238E27FC236}">
                <a16:creationId xmlns:a16="http://schemas.microsoft.com/office/drawing/2014/main" id="{0E3D06B0-370F-4C8D-A570-A3954B6AF202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auto">
          <a:xfrm>
            <a:off x="1900332" y="1441450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62" name="Рисунок 561">
            <a:extLst>
              <a:ext uri="{FF2B5EF4-FFF2-40B4-BE49-F238E27FC236}">
                <a16:creationId xmlns:a16="http://schemas.microsoft.com/office/drawing/2014/main" id="{EC523CF0-CF44-4DB9-95DC-2FD7A6B94AAD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553" t="24229" b="34199"/>
          <a:stretch/>
        </p:blipFill>
        <p:spPr>
          <a:xfrm>
            <a:off x="5993047" y="3866074"/>
            <a:ext cx="513875" cy="371493"/>
          </a:xfrm>
          <a:prstGeom prst="rect">
            <a:avLst/>
          </a:prstGeom>
        </p:spPr>
      </p:pic>
      <p:cxnSp>
        <p:nvCxnSpPr>
          <p:cNvPr id="564" name="Прямая соединительная линия 563">
            <a:extLst>
              <a:ext uri="{FF2B5EF4-FFF2-40B4-BE49-F238E27FC236}">
                <a16:creationId xmlns:a16="http://schemas.microsoft.com/office/drawing/2014/main" id="{D0448EC4-C97E-41CA-89AF-4A9DFDC3EE6C}"/>
              </a:ext>
            </a:extLst>
          </p:cNvPr>
          <p:cNvCxnSpPr>
            <a:cxnSpLocks noChangeAspect="1"/>
          </p:cNvCxnSpPr>
          <p:nvPr/>
        </p:nvCxnSpPr>
        <p:spPr>
          <a:xfrm>
            <a:off x="4646428" y="1533827"/>
            <a:ext cx="412345" cy="14695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6" name="Прямоугольник 565">
            <a:extLst>
              <a:ext uri="{FF2B5EF4-FFF2-40B4-BE49-F238E27FC236}">
                <a16:creationId xmlns:a16="http://schemas.microsoft.com/office/drawing/2014/main" id="{F2A2DBD1-89CB-41EB-AE9E-83BCBFBB0330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5168902" y="2089152"/>
            <a:ext cx="88900" cy="8890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5776900-817B-F643-9F03-38B5866DF998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0" t="8863" r="6995" b="6907"/>
          <a:stretch/>
        </p:blipFill>
        <p:spPr>
          <a:xfrm>
            <a:off x="2120994" y="4205235"/>
            <a:ext cx="3843469" cy="489036"/>
          </a:xfrm>
          <a:prstGeom prst="rect">
            <a:avLst/>
          </a:prstGeom>
          <a:ln w="12700">
            <a:solidFill>
              <a:srgbClr val="FF0000"/>
            </a:solidFill>
          </a:ln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828B5BE0-4A3C-8C49-92AF-8C477E0CA65C}"/>
              </a:ext>
            </a:extLst>
          </p:cNvPr>
          <p:cNvCxnSpPr>
            <a:cxnSpLocks noChangeAspect="1"/>
            <a:endCxn id="13" idx="2"/>
          </p:cNvCxnSpPr>
          <p:nvPr/>
        </p:nvCxnSpPr>
        <p:spPr>
          <a:xfrm flipV="1">
            <a:off x="2142691" y="4005837"/>
            <a:ext cx="2630724" cy="19939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8EDC9015-4D1A-B544-93A6-CCB7A79E3D0D}"/>
              </a:ext>
            </a:extLst>
          </p:cNvPr>
          <p:cNvCxnSpPr>
            <a:cxnSpLocks noChangeAspect="1"/>
            <a:endCxn id="13" idx="6"/>
          </p:cNvCxnSpPr>
          <p:nvPr/>
        </p:nvCxnSpPr>
        <p:spPr>
          <a:xfrm flipH="1" flipV="1">
            <a:off x="5110781" y="4005837"/>
            <a:ext cx="875380" cy="19927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7365564A-1E83-C347-8081-ACD0C13C8922}"/>
              </a:ext>
            </a:extLst>
          </p:cNvPr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" t="7335" r="4809" b="20931"/>
          <a:stretch/>
        </p:blipFill>
        <p:spPr>
          <a:xfrm rot="16200000" flipV="1">
            <a:off x="-184349" y="1846297"/>
            <a:ext cx="2268215" cy="324332"/>
          </a:xfrm>
          <a:prstGeom prst="rect">
            <a:avLst/>
          </a:prstGeom>
          <a:ln w="12700">
            <a:solidFill>
              <a:srgbClr val="FF0000"/>
            </a:solidFill>
          </a:ln>
        </p:spPr>
      </p:pic>
      <p:pic>
        <p:nvPicPr>
          <p:cNvPr id="77" name="Объект 4">
            <a:extLst>
              <a:ext uri="{FF2B5EF4-FFF2-40B4-BE49-F238E27FC236}">
                <a16:creationId xmlns:a16="http://schemas.microsoft.com/office/drawing/2014/main" id="{A8CAE922-2B3A-C74D-AF2D-73EE955191B9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613" y="2908909"/>
            <a:ext cx="551368" cy="365722"/>
          </a:xfrm>
          <a:prstGeom prst="rect">
            <a:avLst/>
          </a:prstGeom>
        </p:spPr>
      </p:pic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49F857D8-E3DC-AB42-A239-6463289FF23C}"/>
              </a:ext>
            </a:extLst>
          </p:cNvPr>
          <p:cNvCxnSpPr>
            <a:stCxn id="41" idx="0"/>
          </p:cNvCxnSpPr>
          <p:nvPr/>
        </p:nvCxnSpPr>
        <p:spPr>
          <a:xfrm flipH="1" flipV="1">
            <a:off x="1111925" y="874355"/>
            <a:ext cx="358295" cy="96451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F7F98C64-FFDE-3D42-95E0-B7E7933F64FA}"/>
              </a:ext>
            </a:extLst>
          </p:cNvPr>
          <p:cNvCxnSpPr>
            <a:cxnSpLocks/>
            <a:stCxn id="41" idx="4"/>
          </p:cNvCxnSpPr>
          <p:nvPr/>
        </p:nvCxnSpPr>
        <p:spPr>
          <a:xfrm flipH="1">
            <a:off x="1114943" y="2178052"/>
            <a:ext cx="355277" cy="96451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" name="Объект 4">
            <a:extLst>
              <a:ext uri="{FF2B5EF4-FFF2-40B4-BE49-F238E27FC236}">
                <a16:creationId xmlns:a16="http://schemas.microsoft.com/office/drawing/2014/main" id="{0EEB679F-7F14-B648-85A9-F1E3162198F1}"/>
              </a:ext>
            </a:extLst>
          </p:cNvPr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377"/>
          <a:stretch/>
        </p:blipFill>
        <p:spPr>
          <a:xfrm>
            <a:off x="4487865" y="1217697"/>
            <a:ext cx="164924" cy="463086"/>
          </a:xfrm>
          <a:prstGeom prst="rect">
            <a:avLst/>
          </a:prstGeom>
        </p:spPr>
      </p:pic>
      <p:pic>
        <p:nvPicPr>
          <p:cNvPr id="449" name="Рисунок 448">
            <a:extLst>
              <a:ext uri="{FF2B5EF4-FFF2-40B4-BE49-F238E27FC236}">
                <a16:creationId xmlns:a16="http://schemas.microsoft.com/office/drawing/2014/main" id="{4D1A9B0C-C5E6-A44E-BC28-FD7B9A8BDDA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232" y="908806"/>
            <a:ext cx="716144" cy="70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7950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464C9529-09AC-2446-A46D-38EFC686F870}"/>
              </a:ext>
            </a:extLst>
          </p:cNvPr>
          <p:cNvCxnSpPr>
            <a:cxnSpLocks/>
            <a:stCxn id="26" idx="3"/>
            <a:endCxn id="28" idx="1"/>
          </p:cNvCxnSpPr>
          <p:nvPr/>
        </p:nvCxnSpPr>
        <p:spPr>
          <a:xfrm>
            <a:off x="5728134" y="3756329"/>
            <a:ext cx="838859" cy="0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Объект 4">
            <a:extLst>
              <a:ext uri="{FF2B5EF4-FFF2-40B4-BE49-F238E27FC236}">
                <a16:creationId xmlns:a16="http://schemas.microsoft.com/office/drawing/2014/main" id="{4099D5E3-B0C1-C44C-8E7C-450CE2CCA8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377" b="21930"/>
          <a:stretch/>
        </p:blipFill>
        <p:spPr>
          <a:xfrm>
            <a:off x="6054418" y="3224819"/>
            <a:ext cx="186289" cy="408362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9A713AD9-6C1F-0F4D-94D9-DDEE320D849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1" t="2839" r="47352" b="2841"/>
          <a:stretch/>
        </p:blipFill>
        <p:spPr>
          <a:xfrm>
            <a:off x="84221" y="2400292"/>
            <a:ext cx="5643913" cy="2712074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2467F9EA-CC63-4545-8EA0-5BC781C0C42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63" t="7127" r="2944" b="13837"/>
          <a:stretch/>
        </p:blipFill>
        <p:spPr>
          <a:xfrm>
            <a:off x="6566993" y="2480981"/>
            <a:ext cx="5266066" cy="2550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8036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KpR9KKFv9NMXBK1VyG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TrvXIAFSovdOkW.hQP3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odAOrCAoc8UIj.Ch4e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k5o5plQ2u3a6A96kZC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HqGRaIP_ERPhPqRaRm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vDHuumTtzBRy29TzSj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HqGRaIP_ERPhPqRaRm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hLrYHgxKe9UVdtRR11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M.Xb.ef8ofIuR6qiMC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r2uKGYN7nx6D7gtlK7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VhAlLsD.HDz.3gVQH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mipCmc5BmoNxQpNd9U4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kSn6kRoJ5haABN6LKdR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0</TotalTime>
  <Words>1</Words>
  <Application>Microsoft Macintosh PowerPoint</Application>
  <PresentationFormat>Широкоэкранный</PresentationFormat>
  <Paragraphs>1</Paragraphs>
  <Slides>2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Times New Roman</vt:lpstr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удавина Варвара</dc:creator>
  <cp:lastModifiedBy>Microsoft Office User</cp:lastModifiedBy>
  <cp:revision>16</cp:revision>
  <dcterms:created xsi:type="dcterms:W3CDTF">2020-12-07T14:15:41Z</dcterms:created>
  <dcterms:modified xsi:type="dcterms:W3CDTF">2021-04-15T14:22:37Z</dcterms:modified>
</cp:coreProperties>
</file>